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48" r:id="rId2"/>
  </p:sldMasterIdLst>
  <p:sldIdLst>
    <p:sldId id="261" r:id="rId3"/>
    <p:sldId id="257" r:id="rId4"/>
    <p:sldId id="260" r:id="rId5"/>
    <p:sldId id="258" r:id="rId6"/>
    <p:sldId id="259" r:id="rId7"/>
    <p:sldId id="262" r:id="rId8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04" d="100"/>
          <a:sy n="104" d="100"/>
        </p:scale>
        <p:origin x="144" y="3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2C97493-5427-9827-BA7D-6068896E7CC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EF868FBE-60A8-C14D-C8F4-E148088802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4333561-1D2F-C521-C4DB-2E592102BB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A8908-BE32-4441-A9BA-B9EFBF84561E}" type="datetimeFigureOut">
              <a:rPr lang="fi-FI" smtClean="0"/>
              <a:t>9.1.2024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7D49A608-7808-77DC-B0DF-B3446FE48F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DA326471-A04C-B8AC-6379-45D912B6E3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A83B0-BD79-469D-B7A8-DB3A36C934D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763875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B415D028-62E8-1348-76AC-F585F05553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ystysuoran tekstin paikkamerkki 2">
            <a:extLst>
              <a:ext uri="{FF2B5EF4-FFF2-40B4-BE49-F238E27FC236}">
                <a16:creationId xmlns:a16="http://schemas.microsoft.com/office/drawing/2014/main" id="{355D858F-23E8-CDD5-80B2-3AAEFDB2F2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FDB3724C-D6EC-E6E2-12A8-61C674DF54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A8908-BE32-4441-A9BA-B9EFBF84561E}" type="datetimeFigureOut">
              <a:rPr lang="fi-FI" smtClean="0"/>
              <a:t>9.1.2024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73464B90-69CB-27FA-511D-1AA4E0EF4D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1D66F9A6-21A2-FCAF-3426-9397EEC717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A83B0-BD79-469D-B7A8-DB3A36C934D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224228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>
            <a:extLst>
              <a:ext uri="{FF2B5EF4-FFF2-40B4-BE49-F238E27FC236}">
                <a16:creationId xmlns:a16="http://schemas.microsoft.com/office/drawing/2014/main" id="{ADD2DFB1-5D5B-2B35-9C1C-9E00A96B3F8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ystysuoran tekstin paikkamerkki 2">
            <a:extLst>
              <a:ext uri="{FF2B5EF4-FFF2-40B4-BE49-F238E27FC236}">
                <a16:creationId xmlns:a16="http://schemas.microsoft.com/office/drawing/2014/main" id="{101D7EDB-6000-3437-187E-64942B87693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44069E52-3A9B-2BB2-BAC6-E894E1326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A8908-BE32-4441-A9BA-B9EFBF84561E}" type="datetimeFigureOut">
              <a:rPr lang="fi-FI" smtClean="0"/>
              <a:t>9.1.2024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1258460A-82C4-897C-8515-9A5701DFD9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64009F6C-8B4C-A3D1-AB08-7F9EA58B4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A83B0-BD79-469D-B7A8-DB3A36C934D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189810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Kuvan paikkamerkki 2">
            <a:extLst>
              <a:ext uri="{FF2B5EF4-FFF2-40B4-BE49-F238E27FC236}">
                <a16:creationId xmlns:a16="http://schemas.microsoft.com/office/drawing/2014/main" id="{37F4749B-0331-F07F-30E6-43E6AD8D7C0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fi-FI"/>
              <a:t>Lisää kuva napsauttamalla kuvaketta</a:t>
            </a:r>
          </a:p>
        </p:txBody>
      </p:sp>
    </p:spTree>
    <p:extLst>
      <p:ext uri="{BB962C8B-B14F-4D97-AF65-F5344CB8AC3E}">
        <p14:creationId xmlns:p14="http://schemas.microsoft.com/office/powerpoint/2010/main" val="22001715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1AECBDAE-1288-D085-31EA-BED9CDD5F2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973943"/>
            <a:ext cx="9923236" cy="2080532"/>
          </a:xfrm>
        </p:spPr>
        <p:txBody>
          <a:bodyPr anchor="b">
            <a:normAutofit/>
          </a:bodyPr>
          <a:lstStyle>
            <a:lvl1pPr>
              <a:defRPr sz="70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6E0D286-6933-F4F2-8F3F-27A1153ADA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201737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7" name="Päivämäärän paikkamerkki 3">
            <a:extLst>
              <a:ext uri="{FF2B5EF4-FFF2-40B4-BE49-F238E27FC236}">
                <a16:creationId xmlns:a16="http://schemas.microsoft.com/office/drawing/2014/main" id="{95E4B719-D3AF-4730-40A0-0AC35D67515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724400" y="6356350"/>
            <a:ext cx="2743200" cy="365125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fld id="{ADF35720-90CB-4C43-80B3-24DA5C11F6FF}" type="datetime1">
              <a:rPr lang="fi-FI" smtClean="0"/>
              <a:t>9.1.2024</a:t>
            </a:fld>
            <a:endParaRPr lang="fi-FI"/>
          </a:p>
        </p:txBody>
      </p:sp>
      <p:sp>
        <p:nvSpPr>
          <p:cNvPr id="8" name="Dian numeron paikkamerkki 5">
            <a:extLst>
              <a:ext uri="{FF2B5EF4-FFF2-40B4-BE49-F238E27FC236}">
                <a16:creationId xmlns:a16="http://schemas.microsoft.com/office/drawing/2014/main" id="{E17B9B39-FF83-B0CE-8032-5A1F6E0FD7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F4BB44F-7B72-EC4D-BE8A-419BCE6CF7A5}" type="slidenum">
              <a:rPr lang="fi-FI" smtClean="0"/>
              <a:pPr/>
              <a:t>‹#›</a:t>
            </a:fld>
            <a:endParaRPr lang="fi-FI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80FD494A-292C-5386-DF9F-CA0C7809AF5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56873" y="6159041"/>
            <a:ext cx="1583792" cy="573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905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692AA7CE-70ED-E8C7-7F27-158F70AADF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F5DDC0BB-61C7-C366-F31F-7F3E9DC3E31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F14349E4-D752-7318-1839-293478D0BD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A8908-BE32-4441-A9BA-B9EFBF84561E}" type="datetimeFigureOut">
              <a:rPr lang="fi-FI" smtClean="0"/>
              <a:t>9.1.2024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D9C4CC3E-D039-AFC9-4FCE-4B4B6D5528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F62FF54-83A7-5459-4CD1-D8835A25B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A83B0-BD79-469D-B7A8-DB3A36C934D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731508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7DCC739D-90FC-8403-70EE-D1A2FF4354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B2CAA4C-E0C4-1FE2-5F2F-426F9BCCAB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92881FB9-089E-4EDB-DC4C-B15B67829D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A8908-BE32-4441-A9BA-B9EFBF84561E}" type="datetimeFigureOut">
              <a:rPr lang="fi-FI" smtClean="0"/>
              <a:t>9.1.2024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3BD3A940-9212-7621-B83D-7C1028D7E5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BC339EC6-F4F2-E84D-CB07-2228CC534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A83B0-BD79-469D-B7A8-DB3A36C934D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54012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BC16ED07-A14C-4CAC-00B3-31C79E8A30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1D814C94-9545-E9E3-7357-91012072758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A9D05E99-BAE2-6DA4-AB70-AF963BE0A6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AD841F60-34DF-0323-C820-F8DCF7A57C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A8908-BE32-4441-A9BA-B9EFBF84561E}" type="datetimeFigureOut">
              <a:rPr lang="fi-FI" smtClean="0"/>
              <a:t>9.1.2024</a:t>
            </a:fld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A6AD77BF-371B-F601-6E78-41B9B21999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0DE132E-2026-440F-9909-B8A78785F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A83B0-BD79-469D-B7A8-DB3A36C934D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016828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2D5E6B8-5595-AE22-71F1-9B30277E22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1625BB0F-D07C-F02F-7D51-1D90D851F6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749722DA-B1ED-0276-C18C-86929FEAE87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C0E4866B-3625-D975-A4AA-4179055FCAE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FBD6E11F-2FEF-7920-757F-11B64099BDE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>
            <a:extLst>
              <a:ext uri="{FF2B5EF4-FFF2-40B4-BE49-F238E27FC236}">
                <a16:creationId xmlns:a16="http://schemas.microsoft.com/office/drawing/2014/main" id="{9B1E970E-C199-EB15-D378-E0520E6B64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A8908-BE32-4441-A9BA-B9EFBF84561E}" type="datetimeFigureOut">
              <a:rPr lang="fi-FI" smtClean="0"/>
              <a:t>9.1.2024</a:t>
            </a:fld>
            <a:endParaRPr lang="fi-FI"/>
          </a:p>
        </p:txBody>
      </p:sp>
      <p:sp>
        <p:nvSpPr>
          <p:cNvPr id="8" name="Alatunnisteen paikkamerkki 7">
            <a:extLst>
              <a:ext uri="{FF2B5EF4-FFF2-40B4-BE49-F238E27FC236}">
                <a16:creationId xmlns:a16="http://schemas.microsoft.com/office/drawing/2014/main" id="{9860DCAA-C67E-710C-A7EC-DD4CB772D4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Dian numeron paikkamerkki 8">
            <a:extLst>
              <a:ext uri="{FF2B5EF4-FFF2-40B4-BE49-F238E27FC236}">
                <a16:creationId xmlns:a16="http://schemas.microsoft.com/office/drawing/2014/main" id="{86CFCA32-67B0-FEB7-80B9-4DACE1DDB2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A83B0-BD79-469D-B7A8-DB3A36C934D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097562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06C06E63-1C94-74A7-3C5D-3A06FFA79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A7F1A7A2-F31E-52C2-FCB6-9C18665847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A8908-BE32-4441-A9BA-B9EFBF84561E}" type="datetimeFigureOut">
              <a:rPr lang="fi-FI" smtClean="0"/>
              <a:t>9.1.2024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078B41EE-194B-97CF-D25E-DF10995052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92F4BFB6-DE07-6738-267D-378C0CCAE0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A83B0-BD79-469D-B7A8-DB3A36C934D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416182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28B2836C-6D84-8AAA-8C9F-3F172E438E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A8908-BE32-4441-A9BA-B9EFBF84561E}" type="datetimeFigureOut">
              <a:rPr lang="fi-FI" smtClean="0"/>
              <a:t>9.1.2024</a:t>
            </a:fld>
            <a:endParaRPr lang="fi-FI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B0B9E108-72FC-9883-C039-8829ACF65B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7E4FAD67-C1B7-50C9-353F-5FA30547B8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A83B0-BD79-469D-B7A8-DB3A36C934D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329819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Kuvateksti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624242E7-BE44-D1D7-7EE4-5E7A5508DC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AF8E58BB-7F4D-8767-6CC7-46DE13D1AC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08D6E5C-0B97-66E5-15F9-BB18EF3304C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90913B26-1423-304E-BDE1-9318B5C760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A8908-BE32-4441-A9BA-B9EFBF84561E}" type="datetimeFigureOut">
              <a:rPr lang="fi-FI" smtClean="0"/>
              <a:t>9.1.2024</a:t>
            </a:fld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93DC5783-E94C-9D21-A1AB-32F778574E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42E7EB5C-EEBB-D0B7-24ED-C228C9AA11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A83B0-BD79-469D-B7A8-DB3A36C934D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532654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uvateksti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B9AEE18-0D30-A50D-E4A7-7DEF5638F6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Kuvan paikkamerkki 2">
            <a:extLst>
              <a:ext uri="{FF2B5EF4-FFF2-40B4-BE49-F238E27FC236}">
                <a16:creationId xmlns:a16="http://schemas.microsoft.com/office/drawing/2014/main" id="{58DE2A9B-F537-FE4A-2167-45758F438D4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14FC543D-ED98-B956-BDE8-B639184F64B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EC273155-A27C-B8CC-299A-41FCAC33CE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7A8908-BE32-4441-A9BA-B9EFBF84561E}" type="datetimeFigureOut">
              <a:rPr lang="fi-FI" smtClean="0"/>
              <a:t>9.1.2024</a:t>
            </a:fld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F4532F77-ED05-89ED-EC36-FB5F6A456B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1139E627-624A-782E-55CB-C6040FBA3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8A83B0-BD79-469D-B7A8-DB3A36C934D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630658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AFF30882-F4F8-4899-6F5E-2B3B20F5D8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D46EA79-EA41-33B9-B9A8-5C0AFA48A7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A4BC5CE-12D4-B920-0EFC-68E1915376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7A8908-BE32-4441-A9BA-B9EFBF84561E}" type="datetimeFigureOut">
              <a:rPr lang="fi-FI" smtClean="0"/>
              <a:t>9.1.2024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5CCE4EFB-17B1-CED0-15F6-ADEB639263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1C8A78F-0BDA-6BB8-92A5-E364D3D824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8A83B0-BD79-469D-B7A8-DB3A36C934D9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224369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ECB3001-9A01-7E21-E3EF-66F4D79696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ECB3001-9A01-7E21-E3EF-66F4D79696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23E2E6E3-D8CD-96E5-EEFB-D7347DBE55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/>
              <a:t>Muokkaa </a:t>
            </a:r>
            <a:r>
              <a:rPr lang="fi-FI" err="1"/>
              <a:t>ots</a:t>
            </a:r>
            <a:r>
              <a:rPr lang="fi-FI"/>
              <a:t>. </a:t>
            </a:r>
            <a:r>
              <a:rPr lang="fi-FI" err="1"/>
              <a:t>perustyyl</a:t>
            </a:r>
            <a:r>
              <a:rPr lang="fi-FI"/>
              <a:t>. </a:t>
            </a:r>
            <a:r>
              <a:rPr lang="fi-FI" err="1"/>
              <a:t>napsautt</a:t>
            </a:r>
            <a:r>
              <a:rPr lang="fi-FI"/>
              <a:t>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79DF8075-5D79-C9DB-6488-A7558887D0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24580783-332B-12B8-6E62-53A75BA12C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EF2FC6C-DBD4-4841-A9CC-88A11B0E8062}" type="datetime1">
              <a:rPr lang="fi-FI" smtClean="0"/>
              <a:t>9.1.2024</a:t>
            </a:fld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74E995EC-EE78-8382-02AB-CC15E3AF62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579579D0-C8D7-1BFD-58EB-E0BB4139BB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F4BB44F-7B72-EC4D-BE8A-419BCE6CF7A5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90532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51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chemeClr val="tx1"/>
          </a:solidFill>
          <a:latin typeface="Arial Black" panose="020B0604020202020204" pitchFamily="34" charset="0"/>
          <a:ea typeface="+mj-ea"/>
          <a:cs typeface="Arial Black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A14BD28-6404-BA5C-D233-8D22D4C490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A14BD28-6404-BA5C-D233-8D22D4C49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941AE576-64A6-12F2-A0E6-7AD64FC23A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226356"/>
            <a:ext cx="10653014" cy="2080532"/>
          </a:xfrm>
        </p:spPr>
        <p:txBody>
          <a:bodyPr vert="horz">
            <a:noAutofit/>
          </a:bodyPr>
          <a:lstStyle/>
          <a:p>
            <a:r>
              <a:rPr lang="fi-FI" sz="4800" dirty="0"/>
              <a:t>Me tehdään - Etelä-Savon Tulevaisuuden sosiaali- ja terveyskeskus –hanke (TSK2)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E51AE878-20EF-897F-6C99-37DF6AC30A0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fi-FI" dirty="0"/>
              <a:t>Eloisan sosiaali- ja terveyskeskuskonsepti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FBB05B-17C4-64B4-A9B2-88D33A9633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BB44F-7B72-EC4D-BE8A-419BCE6CF7A5}" type="slidenum">
              <a:rPr lang="fi-FI" smtClean="0"/>
              <a:t>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505173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 descr="Kuva, joka sisältää kohteen teksti, diagrammi, kartta&#10;&#10;Kuvaus luotu automaattisesti">
            <a:extLst>
              <a:ext uri="{FF2B5EF4-FFF2-40B4-BE49-F238E27FC236}">
                <a16:creationId xmlns:a16="http://schemas.microsoft.com/office/drawing/2014/main" id="{B21768AC-5A6D-E771-76FC-42642C14EA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638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 descr="Kuva, joka sisältää kohteen teksti, animaatio, graafinen suunnittelu, muotoilu&#10;&#10;Kuvaus luotu automaattisesti">
            <a:extLst>
              <a:ext uri="{FF2B5EF4-FFF2-40B4-BE49-F238E27FC236}">
                <a16:creationId xmlns:a16="http://schemas.microsoft.com/office/drawing/2014/main" id="{68366E02-4B37-B75A-6531-71F961F4B0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1663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 descr="Kuva, joka sisältää kohteen teksti, kuvakaappaus, graafinen suunnittelu, muotoilu&#10;&#10;Kuvaus luotu automaattisesti">
            <a:extLst>
              <a:ext uri="{FF2B5EF4-FFF2-40B4-BE49-F238E27FC236}">
                <a16:creationId xmlns:a16="http://schemas.microsoft.com/office/drawing/2014/main" id="{2014EE5E-88B0-8473-4057-AEF9832A81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2005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 descr="Kuva, joka sisältää kohteen teksti, kuvakaappaus, Fontti, Tulostaminen&#10;&#10;Kuvaus luotu automaattisesti">
            <a:extLst>
              <a:ext uri="{FF2B5EF4-FFF2-40B4-BE49-F238E27FC236}">
                <a16:creationId xmlns:a16="http://schemas.microsoft.com/office/drawing/2014/main" id="{6C0416F1-48FA-7B33-6096-8BFCA90D2EE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3083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27267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ema">
  <a:themeElements>
    <a:clrScheme name="Eloisa">
      <a:dk1>
        <a:srgbClr val="000000"/>
      </a:dk1>
      <a:lt1>
        <a:srgbClr val="FFFFFF"/>
      </a:lt1>
      <a:dk2>
        <a:srgbClr val="17406D"/>
      </a:dk2>
      <a:lt2>
        <a:srgbClr val="DBEFF9"/>
      </a:lt2>
      <a:accent1>
        <a:srgbClr val="00FF00"/>
      </a:accent1>
      <a:accent2>
        <a:srgbClr val="000000"/>
      </a:accent2>
      <a:accent3>
        <a:srgbClr val="ED0E93"/>
      </a:accent3>
      <a:accent4>
        <a:srgbClr val="22ABE0"/>
      </a:accent4>
      <a:accent5>
        <a:srgbClr val="00008B"/>
      </a:accent5>
      <a:accent6>
        <a:srgbClr val="FFBB00"/>
      </a:accent6>
      <a:hlink>
        <a:srgbClr val="000000"/>
      </a:hlink>
      <a:folHlink>
        <a:srgbClr val="0059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</TotalTime>
  <Words>18</Words>
  <Application>Microsoft Office PowerPoint</Application>
  <PresentationFormat>Laajakuva</PresentationFormat>
  <Paragraphs>3</Paragraphs>
  <Slides>6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2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6</vt:i4>
      </vt:variant>
    </vt:vector>
  </HeadingPairs>
  <TitlesOfParts>
    <vt:vector size="13" baseType="lpstr">
      <vt:lpstr>Arial</vt:lpstr>
      <vt:lpstr>Arial Black</vt:lpstr>
      <vt:lpstr>Calibri</vt:lpstr>
      <vt:lpstr>Calibri Light</vt:lpstr>
      <vt:lpstr>Office-teema</vt:lpstr>
      <vt:lpstr>Office-teema</vt:lpstr>
      <vt:lpstr>think-cell Slide</vt:lpstr>
      <vt:lpstr>Me tehdään - Etelä-Savon Tulevaisuuden sosiaali- ja terveyskeskus –hanke (TSK2)</vt:lpstr>
      <vt:lpstr>PowerPoint-esitys</vt:lpstr>
      <vt:lpstr>PowerPoint-esitys</vt:lpstr>
      <vt:lpstr>PowerPoint-esitys</vt:lpstr>
      <vt:lpstr>PowerPoint-esitys</vt:lpstr>
      <vt:lpstr>PowerPoint-esity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 tehdään – Etelä-Savon Tulevaisuuden sosiaali- ja terveyskeskus –hanke (TSK2)</dc:title>
  <dc:creator>Taina Paananen</dc:creator>
  <cp:lastModifiedBy>Piskonen Sanna</cp:lastModifiedBy>
  <cp:revision>2</cp:revision>
  <dcterms:created xsi:type="dcterms:W3CDTF">2024-01-09T10:53:29Z</dcterms:created>
  <dcterms:modified xsi:type="dcterms:W3CDTF">2024-01-09T11:37:06Z</dcterms:modified>
</cp:coreProperties>
</file>